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unknown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443" r:id="rId2"/>
    <p:sldId id="463" r:id="rId3"/>
    <p:sldId id="403" r:id="rId4"/>
    <p:sldId id="413" r:id="rId5"/>
    <p:sldId id="466" r:id="rId6"/>
    <p:sldId id="468" r:id="rId7"/>
    <p:sldId id="467" r:id="rId8"/>
    <p:sldId id="294" r:id="rId9"/>
    <p:sldId id="431" r:id="rId10"/>
    <p:sldId id="398" r:id="rId11"/>
    <p:sldId id="436" r:id="rId12"/>
  </p:sldIdLst>
  <p:sldSz cx="9144000" cy="5143500" type="screen16x9"/>
  <p:notesSz cx="6858000" cy="9144000"/>
  <p:custDataLst>
    <p:tags r:id="rId1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Баранова Анна Олеговна" initials="БАО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63A4"/>
    <a:srgbClr val="4DD6CB"/>
    <a:srgbClr val="FF942D"/>
    <a:srgbClr val="FFFE00"/>
    <a:srgbClr val="DFF0FF"/>
    <a:srgbClr val="FFFCED"/>
    <a:srgbClr val="004077"/>
    <a:srgbClr val="009AFF"/>
    <a:srgbClr val="0070BA"/>
    <a:srgbClr val="F6A12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125" autoAdjust="0"/>
    <p:restoredTop sz="50000" autoAdjust="0"/>
  </p:normalViewPr>
  <p:slideViewPr>
    <p:cSldViewPr>
      <p:cViewPr>
        <p:scale>
          <a:sx n="98" d="100"/>
          <a:sy n="98" d="100"/>
        </p:scale>
        <p:origin x="-132" y="9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929D671-4D2E-1043-A6A6-9FF8C2D946E9}" type="datetimeFigureOut">
              <a:rPr lang="en-US" smtClean="0"/>
              <a:t>6/3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CD95F32-50D5-E645-A687-72BAD33C52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683097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DDF89E-55CF-4BC3-9DA9-DA121E46C5DF}" type="datetimeFigureOut">
              <a:rPr lang="ru-RU" smtClean="0"/>
              <a:t>03.06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136D16-3EB0-4A19-B8E6-0AC8AD89F71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464664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NULL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NUL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01202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6" name="Слайд think-cell" r:id="rId4" imgW="366" imgH="367" progId="TCLayout.ActiveDocument.1">
                  <p:embed/>
                </p:oleObj>
              </mc:Choice>
              <mc:Fallback>
                <p:oleObj name="Слайд think-cell" r:id="rId4" imgW="366" imgH="36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>
            <a:spLocks noChangeArrowheads="1"/>
          </p:cNvSpPr>
          <p:nvPr userDrawn="1"/>
        </p:nvSpPr>
        <p:spPr bwMode="auto">
          <a:xfrm>
            <a:off x="4468286" y="4829175"/>
            <a:ext cx="207428" cy="176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Poppins" pitchFamily="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oppins" pitchFamily="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oppins" pitchFamily="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oppins" pitchFamily="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oppins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" pitchFamily="2" charset="0"/>
              </a:defRPr>
            </a:lvl9pPr>
          </a:lstStyle>
          <a:p>
            <a:pPr algn="ctr" eaLnBrk="1" hangingPunct="1">
              <a:defRPr/>
            </a:pPr>
            <a:fld id="{B948DD85-8BF1-4F9B-99FE-C2E12B6A8EF0}" type="slidenum">
              <a:rPr lang="ru-RU" altLang="ru-RU" sz="700" smtClean="0">
                <a:latin typeface="Montserrat" pitchFamily="2" charset="0"/>
                <a:ea typeface="Lato" pitchFamily="34" charset="0"/>
                <a:cs typeface="Poppins SemiBold" pitchFamily="2" charset="0"/>
              </a:rPr>
              <a:pPr algn="ctr" eaLnBrk="1" hangingPunct="1">
                <a:defRPr/>
              </a:pPr>
              <a:t>‹#›</a:t>
            </a:fld>
            <a:endParaRPr lang="ru-RU" altLang="ru-RU" sz="900" smtClean="0">
              <a:latin typeface="Montserrat" pitchFamily="2" charset="0"/>
              <a:ea typeface="Lato" pitchFamily="34" charset="0"/>
              <a:cs typeface="Poppins SemiBold" pitchFamily="2" charset="0"/>
            </a:endParaRPr>
          </a:p>
        </p:txBody>
      </p:sp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189310" y="169069"/>
            <a:ext cx="1607344" cy="30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Poppins" pitchFamily="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oppins" pitchFamily="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oppins" pitchFamily="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oppins" pitchFamily="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oppins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" pitchFamily="2" charset="0"/>
              </a:defRPr>
            </a:lvl9pPr>
          </a:lstStyle>
          <a:p>
            <a:pPr eaLnBrk="1" hangingPunct="1">
              <a:lnSpc>
                <a:spcPts val="900"/>
              </a:lnSpc>
              <a:defRPr/>
            </a:pPr>
            <a:r>
              <a:rPr lang="en-US" altLang="ru-RU" sz="600" smtClean="0">
                <a:latin typeface="Poppins SemiBold" pitchFamily="2" charset="0"/>
                <a:ea typeface="Karla" pitchFamily="2" charset="0"/>
                <a:cs typeface="Poppins SemiBold" pitchFamily="2" charset="0"/>
              </a:rPr>
              <a:t>Pixel Vision</a:t>
            </a:r>
            <a:br>
              <a:rPr lang="en-US" altLang="ru-RU" sz="600" smtClean="0">
                <a:latin typeface="Poppins SemiBold" pitchFamily="2" charset="0"/>
                <a:ea typeface="Karla" pitchFamily="2" charset="0"/>
                <a:cs typeface="Poppins SemiBold" pitchFamily="2" charset="0"/>
              </a:rPr>
            </a:br>
            <a:r>
              <a:rPr lang="en-US" altLang="ru-RU" sz="600" smtClean="0">
                <a:latin typeface="Poppins SemiBold" pitchFamily="2" charset="0"/>
                <a:ea typeface="Karla" pitchFamily="2" charset="0"/>
                <a:cs typeface="Poppins SemiBold" pitchFamily="2" charset="0"/>
              </a:rPr>
              <a:t>Category</a:t>
            </a:r>
            <a:endParaRPr lang="ru-RU" altLang="ru-RU" sz="600" smtClean="0">
              <a:ea typeface="Karla" pitchFamily="2" charset="0"/>
              <a:cs typeface="Poppins SemiBold" pitchFamily="2" charset="0"/>
            </a:endParaRPr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7340204" y="169069"/>
            <a:ext cx="1608534" cy="184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>
                <a:solidFill>
                  <a:schemeClr val="tx1"/>
                </a:solidFill>
                <a:latin typeface="Poppins" pitchFamily="2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Poppins" pitchFamily="2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Poppins" pitchFamily="2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Poppins" pitchFamily="2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Poppins" pitchFamily="2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" pitchFamily="2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" pitchFamily="2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" pitchFamily="2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oppins" pitchFamily="2" charset="0"/>
              </a:defRPr>
            </a:lvl9pPr>
          </a:lstStyle>
          <a:p>
            <a:pPr algn="r" eaLnBrk="1" hangingPunct="1">
              <a:lnSpc>
                <a:spcPts val="900"/>
              </a:lnSpc>
              <a:defRPr/>
            </a:pPr>
            <a:r>
              <a:rPr lang="en-US" altLang="ru-RU" sz="600" smtClean="0">
                <a:latin typeface="Poppins SemiBold" pitchFamily="2" charset="0"/>
                <a:ea typeface="Karla" pitchFamily="2" charset="0"/>
                <a:cs typeface="Poppins SemiBold" pitchFamily="2" charset="0"/>
              </a:rPr>
              <a:t>2016</a:t>
            </a:r>
            <a:endParaRPr lang="ru-RU" altLang="ru-RU" sz="600" smtClean="0">
              <a:ea typeface="Karla" pitchFamily="2" charset="0"/>
              <a:cs typeface="Poppins SemiBold" pitchFamily="2" charset="0"/>
            </a:endParaRPr>
          </a:p>
        </p:txBody>
      </p:sp>
      <p:pic>
        <p:nvPicPr>
          <p:cNvPr id="6" name="Рисунок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2469" y="257175"/>
            <a:ext cx="119063" cy="121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Рисунок 8"/>
          <p:cNvSpPr>
            <a:spLocks noGrp="1"/>
          </p:cNvSpPr>
          <p:nvPr>
            <p:ph type="pic" sz="quarter" idx="10"/>
          </p:nvPr>
        </p:nvSpPr>
        <p:spPr>
          <a:xfrm>
            <a:off x="1" y="1029076"/>
            <a:ext cx="4631633" cy="3167063"/>
          </a:xfrm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7859648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6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6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6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3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NUL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7017283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" name="Слайд think-cell" r:id="rId17" imgW="366" imgH="367" progId="TCLayout.ActiveDocument.1">
                  <p:embed/>
                </p:oleObj>
              </mc:Choice>
              <mc:Fallback>
                <p:oleObj name="Слайд think-cell" r:id="rId17" imgW="366" imgH="36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4400" b="0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03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microsoft.com/office/2007/relationships/media" Target="../media/media1.mp4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jpeg"/><Relationship Id="rId5" Type="http://schemas.openxmlformats.org/officeDocument/2006/relationships/slideLayout" Target="../slideLayouts/slideLayout12.xml"/><Relationship Id="rId4" Type="http://schemas.openxmlformats.org/officeDocument/2006/relationships/video" Target="../media/media1.mp4"/><Relationship Id="rId9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2.jpeg"/><Relationship Id="rId5" Type="http://schemas.openxmlformats.org/officeDocument/2006/relationships/image" Target="NULL"/><Relationship Id="rId4" Type="http://schemas.openxmlformats.org/officeDocument/2006/relationships/oleObject" Target="../embeddings/oleObject12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NULL"/><Relationship Id="rId3" Type="http://schemas.microsoft.com/office/2007/relationships/media" Target="../media/media3.mp4"/><Relationship Id="rId7" Type="http://schemas.openxmlformats.org/officeDocument/2006/relationships/oleObject" Target="../embeddings/oleObject13.bin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3.jpeg"/><Relationship Id="rId5" Type="http://schemas.openxmlformats.org/officeDocument/2006/relationships/slideLayout" Target="../slideLayouts/slideLayout12.xml"/><Relationship Id="rId4" Type="http://schemas.openxmlformats.org/officeDocument/2006/relationships/video" Target="../media/media3.mp4"/><Relationship Id="rId9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jpeg"/><Relationship Id="rId5" Type="http://schemas.openxmlformats.org/officeDocument/2006/relationships/image" Target="NULL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microsoft.com/office/2007/relationships/media" Target="../media/media2.mp4"/><Relationship Id="rId7" Type="http://schemas.openxmlformats.org/officeDocument/2006/relationships/image" Target="NUL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Layout" Target="../slideLayouts/slideLayout12.xml"/><Relationship Id="rId4" Type="http://schemas.openxmlformats.org/officeDocument/2006/relationships/video" Target="../media/media2.mp4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eg"/><Relationship Id="rId5" Type="http://schemas.openxmlformats.org/officeDocument/2006/relationships/image" Target="NULL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jpeg"/><Relationship Id="rId5" Type="http://schemas.openxmlformats.org/officeDocument/2006/relationships/image" Target="NULL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eg"/><Relationship Id="rId5" Type="http://schemas.openxmlformats.org/officeDocument/2006/relationships/image" Target="NULL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jpeg"/><Relationship Id="rId5" Type="http://schemas.openxmlformats.org/officeDocument/2006/relationships/image" Target="NULL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jpeg"/><Relationship Id="rId5" Type="http://schemas.openxmlformats.org/officeDocument/2006/relationships/image" Target="NULL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jpeg"/><Relationship Id="rId5" Type="http://schemas.openxmlformats.org/officeDocument/2006/relationships/image" Target="NULL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746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93" name="Слайд think-cell" r:id="rId7" imgW="270" imgH="270" progId="TCLayout.ActiveDocument.1">
                  <p:embed/>
                </p:oleObj>
              </mc:Choice>
              <mc:Fallback>
                <p:oleObj name="Слайд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Аним.ДЕНЬГИ за ГОД вар03 понедельник.mp4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395536" y="1225303"/>
            <a:ext cx="5630400" cy="316710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783641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58325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746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07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855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746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263" name="Слайд think-cell" r:id="rId7" imgW="270" imgH="270" progId="TCLayout.ActiveDocument.1">
                  <p:embed/>
                </p:oleObj>
              </mc:Choice>
              <mc:Fallback>
                <p:oleObj name="Слайд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fr_v01_test02.mp4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396000" y="1224000"/>
            <a:ext cx="5637600" cy="3171151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369217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2520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3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746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40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32973" y="48301"/>
            <a:ext cx="9036496" cy="1015007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68580" tIns="34290" rIns="68580" bIns="34290" anchor="ctr"/>
          <a:lstStyle/>
          <a:p>
            <a:pPr algn="ctr">
              <a:defRPr/>
            </a:pPr>
            <a:endParaRPr lang="ru-RU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5262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746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61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72008" y="45839"/>
            <a:ext cx="8964488" cy="797719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68580" tIns="34290" rIns="68580" bIns="3429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2527697" y="4637485"/>
            <a:ext cx="522684" cy="24884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4506516" y="4762501"/>
            <a:ext cx="263128" cy="23217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68580" tIns="34290" rIns="68580" bIns="34290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0" name="Номер слайда 3"/>
          <p:cNvSpPr txBox="1">
            <a:spLocks/>
          </p:cNvSpPr>
          <p:nvPr/>
        </p:nvSpPr>
        <p:spPr>
          <a:xfrm>
            <a:off x="6804248" y="4708923"/>
            <a:ext cx="2133600" cy="27384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D750197B-B2DA-4CBD-97D2-8657874A9FCA}" type="slidenum">
              <a:rPr lang="ru-RU" sz="1100" smtClean="0">
                <a:solidFill>
                  <a:prstClr val="black">
                    <a:tint val="75000"/>
                  </a:prstClr>
                </a:solidFill>
                <a:latin typeface="DINPro-CondMedium" panose="020B0606020101010102" pitchFamily="34" charset="-52"/>
              </a:rPr>
              <a:pPr algn="r">
                <a:defRPr/>
              </a:pPr>
              <a:t>3</a:t>
            </a:fld>
            <a:endParaRPr lang="ru-RU" sz="1100" dirty="0">
              <a:solidFill>
                <a:prstClr val="black">
                  <a:tint val="75000"/>
                </a:prstClr>
              </a:solidFill>
              <a:latin typeface="DINPro-CondMedium" panose="020B0606020101010102" pitchFamily="34" charset="-52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6" name="квадраты+++.mp4">
            <a:hlinkClick r:id="" action="ppaction://media"/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395536" y="1224000"/>
            <a:ext cx="5630400" cy="3167100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119275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66154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6"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746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1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5938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746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91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05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746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6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1437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746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53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58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746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1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1910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267463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49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905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ylNvS.SmKazhiJ2rNR0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57</TotalTime>
  <Words>1</Words>
  <Application>Microsoft Office PowerPoint</Application>
  <PresentationFormat>Экран (16:9)</PresentationFormat>
  <Paragraphs>1</Paragraphs>
  <Slides>11</Slides>
  <Notes>0</Notes>
  <HiddenSlides>0</HiddenSlides>
  <MMClips>3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лан работы с послами</dc:title>
  <dc:creator>Anna</dc:creator>
  <cp:lastModifiedBy>Кругозор Кругозор</cp:lastModifiedBy>
  <cp:revision>550</cp:revision>
  <cp:lastPrinted>2020-06-03T09:49:13Z</cp:lastPrinted>
  <dcterms:created xsi:type="dcterms:W3CDTF">2019-04-05T17:11:41Z</dcterms:created>
  <dcterms:modified xsi:type="dcterms:W3CDTF">2020-06-03T13:18:20Z</dcterms:modified>
</cp:coreProperties>
</file>